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06.xml" ContentType="application/vnd.openxmlformats-officedocument.presentationml.slide+xml"/>
  <Override PartName="/ppt/tags/tag1106.xml" ContentType="application/vnd.openxmlformats-officedocument.presentationml.tags+xml"/>
  <Override PartName="/ppt/tags/tag1101.xml" ContentType="application/vnd.openxmlformats-officedocument.presentationml.tags+xml"/>
  <Override PartName="/ppt/tags/tag1105.xml" ContentType="application/vnd.openxmlformats-officedocument.presentationml.tags+xml"/>
  <Override PartName="/ppt/tags/tag1100.xml" ContentType="application/vnd.openxmlformats-officedocument.presentationml.tags+xml"/>
  <Override PartName="/ppt/tags/tag1104.xml" ContentType="application/vnd.openxmlformats-officedocument.presentationml.tags+xml"/>
  <Override PartName="/ppt/notesSlides/notesSlide20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10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02.xml" ContentType="application/vnd.openxmlformats-officedocument.presentationml.tags+xml"/>
  <Override PartName="/ppt/tags/tag1107.xml" ContentType="application/vnd.openxmlformats-officedocument.presentationml.tags+xml"/>
  <Override PartName="/ppt/charts/chart39.xml" ContentType="application/vnd.openxmlformats-officedocument.drawingml.chart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31" r:id="rId20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06.xml" Id="rId209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39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8.xlsb" Id="rId1" /></Relationships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58671909130624E-2"/>
          <c:y val="6.4290473017988015E-2"/>
          <c:w val="0.97728265618173871"/>
          <c:h val="0.871419053964023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1D-4169-B495-A7FF29A6AE3B}"/>
                </c:ext>
              </c:extLst>
            </c:dLbl>
            <c:dLbl>
              <c:idx val="1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1D-4169-B495-A7FF29A6AE3B}"/>
                </c:ext>
              </c:extLst>
            </c:dLbl>
            <c:dLbl>
              <c:idx val="2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0</c:v>
                </c:pt>
                <c:pt idx="1">
                  <c:v>15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1D-4169-B495-A7FF29A6AE3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61D-4169-B495-A7FF29A6AE3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61D-4169-B495-A7FF29A6AE3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40.000000000000007</c:v>
                </c:pt>
                <c:pt idx="1">
                  <c:v>25</c:v>
                </c:pt>
                <c:pt idx="2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1D-4169-B495-A7FF29A6AE3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61D-4169-B495-A7FF29A6AE3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61D-4169-B495-A7FF29A6AE3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9.999999999999993</c:v>
                </c:pt>
                <c:pt idx="1">
                  <c:v>60</c:v>
                </c:pt>
                <c:pt idx="2">
                  <c:v>30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1D-4169-B495-A7FF29A6AE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320384"/>
        <c:axId val="1"/>
      </c:barChart>
      <c:catAx>
        <c:axId val="3373203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7320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6.xml.rels>&#65279;<?xml version="1.0" encoding="utf-8"?><Relationships xmlns="http://schemas.openxmlformats.org/package/2006/relationships"><Relationship Type="http://schemas.openxmlformats.org/officeDocument/2006/relationships/slide" Target="/ppt/slides/slide206.xml" Id="rId2" /><Relationship Type="http://schemas.openxmlformats.org/officeDocument/2006/relationships/notesMaster" Target="/ppt/notesMasters/notesMaster1.xml" Id="rId1" /></Relationships>
</file>

<file path=ppt/notesSlides/notesSlide2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80022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6.xml.rels>&#65279;<?xml version="1.0" encoding="utf-8"?><Relationships xmlns="http://schemas.openxmlformats.org/package/2006/relationships"><Relationship Type="http://schemas.openxmlformats.org/officeDocument/2006/relationships/tags" Target="/ppt/tags/tag1106.xml" Id="rId8" /><Relationship Type="http://schemas.openxmlformats.org/officeDocument/2006/relationships/image" Target="/ppt/media/image4.emf" Id="rId13" /><Relationship Type="http://schemas.openxmlformats.org/officeDocument/2006/relationships/tags" Target="/ppt/tags/tag1101.xml" Id="rId3" /><Relationship Type="http://schemas.openxmlformats.org/officeDocument/2006/relationships/tags" Target="/ppt/tags/tag1105.xml" Id="rId7" /><Relationship Type="http://schemas.openxmlformats.org/officeDocument/2006/relationships/oleObject" Target="/ppt/embeddings/oleObject210.bin" Id="rId12" /><Relationship Type="http://schemas.openxmlformats.org/officeDocument/2006/relationships/tags" Target="/ppt/tags/tag1100.xml" Id="rId2" /><Relationship Type="http://schemas.openxmlformats.org/officeDocument/2006/relationships/vmlDrawing" Target="/ppt/drawings/vmlDrawing210.vml" Id="rId1" /><Relationship Type="http://schemas.openxmlformats.org/officeDocument/2006/relationships/tags" Target="/ppt/tags/tag1104.xml" Id="rId6" /><Relationship Type="http://schemas.openxmlformats.org/officeDocument/2006/relationships/notesSlide" Target="/ppt/notesSlides/notesSlide206.xml" Id="rId11" /><Relationship Type="http://schemas.openxmlformats.org/officeDocument/2006/relationships/tags" Target="/ppt/tags/tag1103.xml" Id="rId5" /><Relationship Type="http://schemas.openxmlformats.org/officeDocument/2006/relationships/slideLayout" Target="/ppt/slideLayouts/slideLayout5.xml" Id="rId10" /><Relationship Type="http://schemas.openxmlformats.org/officeDocument/2006/relationships/tags" Target="/ppt/tags/tag1102.xml" Id="rId4" /><Relationship Type="http://schemas.openxmlformats.org/officeDocument/2006/relationships/tags" Target="/ppt/tags/tag1107.xml" Id="rId9" /><Relationship Type="http://schemas.openxmlformats.org/officeDocument/2006/relationships/chart" Target="/ppt/charts/chart39.xml" Id="rId14" /></Relationships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672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9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Stacked 100% b</a:t>
            </a:r>
            <a:r>
              <a:rPr lang="en-US" altLang="en-US" dirty="0"/>
              <a:t>ar</a:t>
            </a:r>
            <a:endParaRPr lang="en-US" dirty="0"/>
          </a:p>
        </p:txBody>
      </p:sp>
      <p:graphicFrame>
        <p:nvGraphicFramePr>
          <p:cNvPr id="21" name="Chart 3">
            <a:extLst>
              <a:ext uri="{FF2B5EF4-FFF2-40B4-BE49-F238E27FC236}">
                <a16:creationId xmlns:a16="http://schemas.microsoft.com/office/drawing/2014/main" id="{A0D635CF-D59F-4E7D-9673-AF30B5F797D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9587783"/>
              </p:ext>
            </p:extLst>
          </p:nvPr>
        </p:nvGraphicFramePr>
        <p:xfrm>
          <a:off x="968375" y="1598613"/>
          <a:ext cx="7267575" cy="476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23862" y="2489200"/>
            <a:ext cx="509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C2FDBA-93C3-4C99-9459-EC8419510264}" type="datetime'''E''''''''''''''''''''M''''''''''''E''A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EA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9A39328-2A35-5C11-69BE-4B1B19F13D5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34975" y="3873500"/>
            <a:ext cx="498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EA0015D-6FFC-47C1-9AE3-4C323B8DFF08}" type="datetime'''''A''''''''''P''''''''A''''''''''''''C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PAC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7AFCAD7D-F4B6-9CD7-B608-65BE121E1B2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42912" y="5257800"/>
            <a:ext cx="490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EFAF149-FA88-4833-8E28-81D6AF6AE2BF}" type="datetime'O''''''''''''''''''''''''''''''''''''''th''''e''''''''''r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C0E21FE4-5C0A-9260-3BA1-C22D8791555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307138" y="1855788"/>
            <a:ext cx="852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74541C-8EFD-4956-A7E2-AA181C80764B}" type="datetime'''''P''r''''''''''o''''''''du''''''''''''''''ct'''' ''C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duct C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EF0B35C7-0191-B7D8-E759-AA38D66739E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470275" y="1855788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B79AAA-12E8-4B78-B46D-85806344F29B}" type="datetime'''''''''''P''r''o''''''''d''u''''c''''''''t'' ''''''''B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duct B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338263" y="1855788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AD95B-20CB-44B4-B6B1-67C018D7535E}" type="datetime'P''r''''''''''''''''''''''o''d''''''''uct'''''''''' ''A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duct A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DE4F504-453C-F109-9387-D5B6F030B4B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9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, columns, bars,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9FC5264B-4020-4520-9F68-C99BA4FA4A8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C0FD9A6-8E7A-E813-4366-952A358E1C90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FD4CDB6D-374F-7F3D-ACDB-BCCD793070C0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6CE2F5B7-418A-0C6E-DEF1-67B48B1ABD76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tc_columnheader">
            <a:extLst>
              <a:ext uri="{FF2B5EF4-FFF2-40B4-BE49-F238E27FC236}">
                <a16:creationId xmlns:a16="http://schemas.microsoft.com/office/drawing/2014/main" id="{BB104D09-EF66-4F9C-6EF6-179EFF5A25D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2" name="tc_columnhead">
              <a:extLst>
                <a:ext uri="{FF2B5EF4-FFF2-40B4-BE49-F238E27FC236}">
                  <a16:creationId xmlns:a16="http://schemas.microsoft.com/office/drawing/2014/main" id="{CCBF1D76-92C7-E6B8-FE49-4118C402CB8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3" name="tc_columnheadline">
              <a:extLst>
                <a:ext uri="{FF2B5EF4-FFF2-40B4-BE49-F238E27FC236}">
                  <a16:creationId xmlns:a16="http://schemas.microsoft.com/office/drawing/2014/main" id="{C9F13173-1660-0C58-C057-20A879C65E40}"/>
                </a:ext>
              </a:extLst>
            </p:cNvPr>
            <p:cNvCxnSpPr>
              <a:cxnSpLocks/>
              <a:stCxn id="12" idx="4"/>
              <a:endCxn id="12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18">
            <a:extLst>
              <a:ext uri="{FF2B5EF4-FFF2-40B4-BE49-F238E27FC236}">
                <a16:creationId xmlns:a16="http://schemas.microsoft.com/office/drawing/2014/main" id="{36D5F96A-DE07-6F54-FAF3-4413C7A4281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total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6008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wSeJXZumtOrPaT8sl7LA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N.9pZf_QPo.U78_.bS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xIawzJumMmB_5me3lr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myE_tPck8YazVMbRPAZ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6c4RTMNCTlK7odq0D7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gAOwFxJS7gPnrYlZJp5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GXexzeCe.FPbZVOHgn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